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9281775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8" d="100"/>
          <a:sy n="58" d="100"/>
        </p:scale>
        <p:origin x="87" y="12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9739714-32AF-85C1-EB52-7ECFF547143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E7772A-48B0-51B1-1644-82BC5BB8538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DADF2E-BE41-49D6-BEBA-109EB61FD069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B98C2C-018A-CF0D-9C7F-4AA0B4809A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3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008E2C-8BBB-3E87-7950-3101DD4B99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606724-97EC-44B7-8FC9-0988DDB41FB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32298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54017-2D73-472B-93C1-C8BB309A657C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908050" y="1143000"/>
            <a:ext cx="8674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30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4F9ABD-DC98-48BC-AC07-E358899A6C8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5978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F9ABD-DC98-48BC-AC07-E358899A6C8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8905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792" y="75600"/>
            <a:ext cx="18702857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14791" y="6605844"/>
            <a:ext cx="5883219" cy="126000"/>
          </a:xfrm>
        </p:spPr>
        <p:txBody>
          <a:bodyPr/>
          <a:lstStyle/>
          <a:p>
            <a:fld id="{4E519FEC-EC02-4DBC-88CF-23CD947EE0D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724447" y="6605844"/>
            <a:ext cx="5466305" cy="126000"/>
          </a:xfrm>
        </p:spPr>
        <p:txBody>
          <a:bodyPr/>
          <a:lstStyle/>
          <a:p>
            <a:r>
              <a:rPr lang="de-DE"/>
              <a:t>PowerPoint-1067×30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8465044" y="6590168"/>
            <a:ext cx="552604" cy="151200"/>
          </a:xfrm>
        </p:spPr>
        <p:txBody>
          <a:bodyPr/>
          <a:lstStyle/>
          <a:p>
            <a:fld id="{D9C3A392-E9E0-46D8-9776-60FD482B530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14791" y="914400"/>
            <a:ext cx="15744253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1150665656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69A93-64DC-2EAC-BB75-05CC8BD47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D05E46-126D-44B1-6A1D-0C66D8EB7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19FEC-EC02-4DBC-88CF-23CD947EE0D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9B1D42-7C1C-DA3E-A33F-42E120661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3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F80ED7-9867-E3FA-0D5D-88EA45528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3A392-E9E0-46D8-9776-60FD482B530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64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314791" y="6605844"/>
            <a:ext cx="5883219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4E519FEC-EC02-4DBC-88CF-23CD947EE0D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2724447" y="6605844"/>
            <a:ext cx="5466305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30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14792" y="75600"/>
            <a:ext cx="18702857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314791" y="914400"/>
            <a:ext cx="15744253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8465044" y="6590168"/>
            <a:ext cx="552604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9C3A392-E9E0-46D8-9776-60FD482B5303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130140" y="6165304"/>
            <a:ext cx="9510016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1740320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CCFD8E-1039-D53F-A6F6-27013FBFA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4894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4:37Z</dcterms:created>
  <dcterms:modified xsi:type="dcterms:W3CDTF">2025-09-01T07:48:18Z</dcterms:modified>
</cp:coreProperties>
</file>